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1"/>
  </p:sldMasterIdLst>
  <p:sldIdLst>
    <p:sldId id="256" r:id="rId2"/>
    <p:sldId id="257" r:id="rId3"/>
    <p:sldId id="259" r:id="rId4"/>
    <p:sldId id="264" r:id="rId5"/>
    <p:sldId id="265" r:id="rId6"/>
    <p:sldId id="261" r:id="rId7"/>
    <p:sldId id="269" r:id="rId8"/>
    <p:sldId id="271" r:id="rId9"/>
    <p:sldId id="272" r:id="rId10"/>
    <p:sldId id="273" r:id="rId11"/>
    <p:sldId id="262" r:id="rId12"/>
  </p:sldIdLst>
  <p:sldSz cx="12192000" cy="6858000"/>
  <p:notesSz cx="6858000" cy="9144000"/>
  <p:custDataLst>
    <p:tags r:id="rId1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>
        <p:scale>
          <a:sx n="95" d="100"/>
          <a:sy n="95" d="100"/>
        </p:scale>
        <p:origin x="206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0" y="758952"/>
            <a:ext cx="10058400" cy="3566160"/>
          </a:xfrm>
        </p:spPr>
        <p:txBody>
          <a:bodyPr anchor="b">
            <a:normAutofit/>
          </a:bodyPr>
          <a:lstStyle>
            <a:lvl1pPr algn="l">
              <a:lnSpc>
                <a:spcPct val="85000"/>
              </a:lnSpc>
              <a:defRPr sz="8000" spc="-5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00051" y="4455620"/>
            <a:ext cx="10058400" cy="1143000"/>
          </a:xfrm>
        </p:spPr>
        <p:txBody>
          <a:bodyPr lIns="91440" rIns="91440">
            <a:normAutofit/>
          </a:bodyPr>
          <a:lstStyle>
            <a:lvl1pPr marL="0" indent="0" algn="l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24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5F4ED-4AA3-4EBF-8095-BB384D683934}" type="datetimeFigureOut">
              <a:rPr lang="en-US" smtClean="0"/>
              <a:t>12/7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BECA11-8BE0-4200-A20B-7EFAD59573EE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/>
          <p:cNvCxnSpPr/>
          <p:nvPr/>
        </p:nvCxnSpPr>
        <p:spPr>
          <a:xfrm>
            <a:off x="1207658" y="4343400"/>
            <a:ext cx="98755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903486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lIns="45720" tIns="0" rIns="4572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5F4ED-4AA3-4EBF-8095-BB384D683934}" type="datetimeFigureOut">
              <a:rPr lang="en-US" smtClean="0"/>
              <a:t>12/7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BECA11-8BE0-4200-A20B-7EFAD59573E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569527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414778"/>
            <a:ext cx="2628900" cy="5757421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414778"/>
            <a:ext cx="7734300" cy="5757422"/>
          </a:xfrm>
        </p:spPr>
        <p:txBody>
          <a:bodyPr vert="eaVert" lIns="45720" tIns="0" rIns="4572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5F4ED-4AA3-4EBF-8095-BB384D683934}" type="datetimeFigureOut">
              <a:rPr lang="en-US" smtClean="0"/>
              <a:t>12/7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BECA11-8BE0-4200-A20B-7EFAD59573E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02311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marL="0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5F4ED-4AA3-4EBF-8095-BB384D683934}" type="datetimeFigureOut">
              <a:rPr lang="en-US" smtClean="0"/>
              <a:t>12/7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BECA11-8BE0-4200-A20B-7EFAD59573E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74596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758952"/>
            <a:ext cx="10058400" cy="3566160"/>
          </a:xfrm>
        </p:spPr>
        <p:txBody>
          <a:bodyPr anchor="b" anchorCtr="0">
            <a:normAutofit/>
          </a:bodyPr>
          <a:lstStyle>
            <a:lvl1pPr>
              <a:lnSpc>
                <a:spcPct val="85000"/>
              </a:lnSpc>
              <a:defRPr sz="8000" b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4453128"/>
            <a:ext cx="10058400" cy="1143000"/>
          </a:xfrm>
        </p:spPr>
        <p:txBody>
          <a:bodyPr lIns="91440" rIns="91440" anchor="t" anchorCtr="0">
            <a:normAutofit/>
          </a:bodyPr>
          <a:lstStyle>
            <a:lvl1pPr marL="0" indent="0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5F4ED-4AA3-4EBF-8095-BB384D683934}" type="datetimeFigureOut">
              <a:rPr lang="en-US" smtClean="0"/>
              <a:t>12/7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BECA11-8BE0-4200-A20B-7EFAD59573EE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/>
          <p:cNvCxnSpPr/>
          <p:nvPr/>
        </p:nvCxnSpPr>
        <p:spPr>
          <a:xfrm>
            <a:off x="1207658" y="4343400"/>
            <a:ext cx="98755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81243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97279" y="1845734"/>
            <a:ext cx="4937760" cy="4023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17920" y="1845735"/>
            <a:ext cx="4937760" cy="4023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5F4ED-4AA3-4EBF-8095-BB384D683934}" type="datetimeFigureOut">
              <a:rPr lang="en-US" smtClean="0"/>
              <a:t>12/7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BECA11-8BE0-4200-A20B-7EFAD59573E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666201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1846052"/>
            <a:ext cx="493776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97280" y="2582334"/>
            <a:ext cx="4937760" cy="3378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17920" y="1846052"/>
            <a:ext cx="493776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17920" y="2582334"/>
            <a:ext cx="4937760" cy="3378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5F4ED-4AA3-4EBF-8095-BB384D683934}" type="datetimeFigureOut">
              <a:rPr lang="en-US" smtClean="0"/>
              <a:t>12/7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BECA11-8BE0-4200-A20B-7EFAD59573E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746728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5F4ED-4AA3-4EBF-8095-BB384D683934}" type="datetimeFigureOut">
              <a:rPr lang="en-US" smtClean="0"/>
              <a:t>12/7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BECA11-8BE0-4200-A20B-7EFAD59573E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627673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" name="Rectangle 5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5F4ED-4AA3-4EBF-8095-BB384D683934}" type="datetimeFigureOut">
              <a:rPr lang="en-US" smtClean="0"/>
              <a:t>12/7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BECA11-8BE0-4200-A20B-7EFAD59573E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831613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6" y="0"/>
            <a:ext cx="405079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4040071" y="0"/>
            <a:ext cx="64008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94359"/>
            <a:ext cx="3200400" cy="2286000"/>
          </a:xfrm>
        </p:spPr>
        <p:txBody>
          <a:bodyPr anchor="b">
            <a:norm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00600" y="731520"/>
            <a:ext cx="6492240" cy="5257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2926080"/>
            <a:ext cx="3200400" cy="3379124"/>
          </a:xfrm>
        </p:spPr>
        <p:txBody>
          <a:bodyPr lIns="91440" rIns="91440">
            <a:norm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65512" y="6459785"/>
            <a:ext cx="2618510" cy="365125"/>
          </a:xfrm>
        </p:spPr>
        <p:txBody>
          <a:bodyPr/>
          <a:lstStyle>
            <a:lvl1pPr algn="l">
              <a:defRPr/>
            </a:lvl1pPr>
          </a:lstStyle>
          <a:p>
            <a:fld id="{3E15F4ED-4AA3-4EBF-8095-BB384D683934}" type="datetimeFigureOut">
              <a:rPr lang="en-US" smtClean="0"/>
              <a:t>12/7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800600" y="6459785"/>
            <a:ext cx="4648200" cy="365125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39BECA11-8BE0-4200-A20B-7EFAD59573E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27951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4953000"/>
            <a:ext cx="12188825" cy="1905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15" y="491507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5074920"/>
            <a:ext cx="10113264" cy="822960"/>
          </a:xfrm>
        </p:spPr>
        <p:txBody>
          <a:bodyPr lIns="91440" tIns="0" rIns="91440" bIns="0" anchor="b">
            <a:no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5" y="0"/>
            <a:ext cx="12191985" cy="4915076"/>
          </a:xfrm>
          <a:blipFill>
            <a:blip r:embed="rId2"/>
            <a:stretch>
              <a:fillRect/>
            </a:stretch>
          </a:blipFill>
        </p:spPr>
        <p:txBody>
          <a:bodyPr lIns="457200" tIns="457200" anchor="t"/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97280" y="5907023"/>
            <a:ext cx="10113264" cy="594360"/>
          </a:xfrm>
        </p:spPr>
        <p:txBody>
          <a:bodyPr lIns="91440" tIns="0" rIns="9144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5F4ED-4AA3-4EBF-8095-BB384D683934}" type="datetimeFigureOut">
              <a:rPr lang="en-US" smtClean="0"/>
              <a:t>12/7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BECA11-8BE0-4200-A20B-7EFAD59573E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15677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" y="6400800"/>
            <a:ext cx="12192000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0" y="6334316"/>
            <a:ext cx="12192001" cy="6599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1845734"/>
            <a:ext cx="10058400" cy="402336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rgbClr val="FFFFFF"/>
                </a:solidFill>
              </a:defRPr>
            </a:lvl1pPr>
          </a:lstStyle>
          <a:p>
            <a:fld id="{3E15F4ED-4AA3-4EBF-8095-BB384D683934}" type="datetimeFigureOut">
              <a:rPr lang="en-US" smtClean="0"/>
              <a:t>12/7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86185" y="6459785"/>
            <a:ext cx="48228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cap="all" baseline="0"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rgbClr val="FFFFFF"/>
                </a:solidFill>
              </a:defRPr>
            </a:lvl1pPr>
          </a:lstStyle>
          <a:p>
            <a:fld id="{39BECA11-8BE0-4200-A20B-7EFAD59573EE}" type="slidenum">
              <a:rPr lang="en-US" smtClean="0"/>
              <a:t>‹#›</a:t>
            </a:fld>
            <a:endParaRPr lang="en-US"/>
          </a:p>
        </p:txBody>
      </p:sp>
      <p:cxnSp>
        <p:nvCxnSpPr>
          <p:cNvPr id="10" name="Straight Connector 9"/>
          <p:cNvCxnSpPr/>
          <p:nvPr/>
        </p:nvCxnSpPr>
        <p:spPr>
          <a:xfrm>
            <a:off x="1193532" y="1737845"/>
            <a:ext cx="996696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FD64305-82F7-18AF-3033-FE46871285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9700103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73" imgH="473" progId="TCLayout.ActiveDocument.1">
                  <p:embed/>
                </p:oleObj>
              </mc:Choice>
              <mc:Fallback>
                <p:oleObj name="think-cell Slide" r:id="rId14" imgW="473" imgH="47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FBCC7C1-97D7-4F56-A40E-144F737AB7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435693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</p:sldLayoutIdLst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4800" kern="1200" spc="-50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91440" indent="-91440" algn="l" defTabSz="914400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Calibri" panose="020F0502020204030204" pitchFamily="34" charset="0"/>
        <a:buChar char=" 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38404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56692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74980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93268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1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3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5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7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5" Type="http://schemas.openxmlformats.org/officeDocument/2006/relationships/image" Target="../media/image17.png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7" Type="http://schemas.openxmlformats.org/officeDocument/2006/relationships/image" Target="../media/image1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DC88DF8-DDE7-4F51-9008-AE9EEF48433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7971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ADFCCDB-249A-4AA9-A361-3BAAF14ECA9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 anchor="ctr"/>
          <a:lstStyle/>
          <a:p>
            <a:pPr algn="l"/>
            <a:r>
              <a:rPr lang="en-US" b="1" dirty="0"/>
              <a:t>Lending Club case study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78A1FCF-E7D4-47B2-A3B4-2F3267172C0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 anchor="ctr"/>
          <a:lstStyle/>
          <a:p>
            <a:pPr algn="r"/>
            <a:r>
              <a:rPr lang="en-US" dirty="0"/>
              <a:t>Submitted by: Prasad &amp; Jitesh</a:t>
            </a:r>
          </a:p>
        </p:txBody>
      </p:sp>
    </p:spTree>
    <p:extLst>
      <p:ext uri="{BB962C8B-B14F-4D97-AF65-F5344CB8AC3E}">
        <p14:creationId xmlns:p14="http://schemas.microsoft.com/office/powerpoint/2010/main" val="185860902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C5948B-EBDC-4BC7-B296-690BCA97CA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C5948B-EBDC-4BC7-B296-690BCA97CA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09596E1-A18E-4397-8DCE-778F5C1FB1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1413" y="609600"/>
            <a:ext cx="9905998" cy="686540"/>
          </a:xfrm>
        </p:spPr>
        <p:txBody>
          <a:bodyPr vert="horz">
            <a:normAutofit fontScale="90000"/>
          </a:bodyPr>
          <a:lstStyle/>
          <a:p>
            <a:r>
              <a:rPr lang="en-US" dirty="0"/>
              <a:t>Feature Engineering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39E8D74-F2DF-D6A9-55B8-9A440D49D8D7}"/>
              </a:ext>
            </a:extLst>
          </p:cNvPr>
          <p:cNvSpPr txBox="1"/>
          <p:nvPr/>
        </p:nvSpPr>
        <p:spPr>
          <a:xfrm>
            <a:off x="1141413" y="1828800"/>
            <a:ext cx="10432966" cy="16825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1440" indent="-91440" defTabSz="91440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Ø"/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-apple-system"/>
              </a:rPr>
              <a:t>Calculated the difference amount of </a:t>
            </a:r>
            <a:r>
              <a:rPr lang="en-US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-apple-system"/>
              </a:rPr>
              <a:t>funded_amnt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-apple-system"/>
              </a:rPr>
              <a:t> and </a:t>
            </a:r>
            <a:r>
              <a:rPr lang="en-US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-apple-system"/>
              </a:rPr>
              <a:t>funded_amnt_inv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-apple-system"/>
              </a:rPr>
              <a:t>. Issuing more/less loan amount than approved amount doesn't have any effect on charged off.</a:t>
            </a:r>
          </a:p>
          <a:p>
            <a:pPr marL="91440" indent="-91440" defTabSz="91440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Ø"/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-apple-system"/>
              </a:rPr>
              <a:t>Calculated the percentage of installment in monthly income. If the Installment to Monthly income percentage is more than ~8%, the chances of charge off increases</a:t>
            </a:r>
          </a:p>
          <a:p>
            <a:pPr marL="285750" indent="-285750" algn="l"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000000"/>
              </a:solidFill>
              <a:effectLst/>
              <a:latin typeface="Helvetica Neue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D41D004-CA15-B03A-0264-C4910C4119A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888411" y="3306128"/>
            <a:ext cx="3531063" cy="2904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619247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C5948B-EBDC-4BC7-B296-690BCA97CA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C5948B-EBDC-4BC7-B296-690BCA97CA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09596E1-A18E-4397-8DCE-778F5C1FB1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1413" y="609600"/>
            <a:ext cx="9905998" cy="686540"/>
          </a:xfrm>
        </p:spPr>
        <p:txBody>
          <a:bodyPr vert="horz">
            <a:normAutofit fontScale="90000"/>
          </a:bodyPr>
          <a:lstStyle/>
          <a:p>
            <a:r>
              <a:rPr lang="en-US" dirty="0"/>
              <a:t>Conclus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A57B99-F244-461F-A4E9-BA616D17E42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41413" y="1296140"/>
            <a:ext cx="9905998" cy="4495061"/>
          </a:xfrm>
        </p:spPr>
        <p:txBody>
          <a:bodyPr/>
          <a:lstStyle/>
          <a:p>
            <a:pPr marL="0" indent="0">
              <a:buNone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Lending club can consider below factors to decrease the Charge off percentage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If lending club reduce the interest rates there will be less chance of charge off’s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Should issue loans carefully for certain grades which has higher charge off percentage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Should issue loans carefully to people from NE state as they have ~60% charge off’s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As people who took loan for small business has high chance of charge off, should be cautious while issuing loans to small business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Should also reduce the number of loan for CA State as it has more number of charge off’s.</a:t>
            </a:r>
          </a:p>
          <a:p>
            <a:pPr>
              <a:buFont typeface="Wingdings" panose="05000000000000000000" pitchFamily="2" charset="2"/>
              <a:buChar char="Ø"/>
            </a:pP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buFont typeface="Wingdings" panose="05000000000000000000" pitchFamily="2" charset="2"/>
              <a:buChar char="Ø"/>
            </a:pP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buFont typeface="Wingdings" panose="05000000000000000000" pitchFamily="2" charset="2"/>
              <a:buChar char="Ø"/>
            </a:pP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227169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C5948B-EBDC-4BC7-B296-690BCA97CA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10316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09596E1-A18E-4397-8DCE-778F5C1FB1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1413" y="364218"/>
            <a:ext cx="9905998" cy="686540"/>
          </a:xfrm>
        </p:spPr>
        <p:txBody>
          <a:bodyPr vert="horz">
            <a:normAutofit fontScale="90000"/>
          </a:bodyPr>
          <a:lstStyle/>
          <a:p>
            <a:r>
              <a:rPr lang="en-US" dirty="0"/>
              <a:t>Case Study Summar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A57B99-F244-461F-A4E9-BA616D17E42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41413" y="1296140"/>
            <a:ext cx="9905998" cy="4495061"/>
          </a:xfrm>
        </p:spPr>
        <p:txBody>
          <a:bodyPr/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Built understanding of the objective, different features and  their data types</a:t>
            </a:r>
          </a:p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addressed the data quality issues including missing values, outliers and redundant features </a:t>
            </a:r>
          </a:p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Univariate analysis of categorial and continuous variables and their relationship with loan status</a:t>
            </a:r>
          </a:p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Derived new features from the data as per the domain understanding </a:t>
            </a:r>
          </a:p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Bivariate analysis and segmented analysis to understand the relationship between different features</a:t>
            </a:r>
          </a:p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Identified significant metrics in identifying default</a:t>
            </a:r>
          </a:p>
        </p:txBody>
      </p:sp>
    </p:spTree>
    <p:extLst>
      <p:ext uri="{BB962C8B-B14F-4D97-AF65-F5344CB8AC3E}">
        <p14:creationId xmlns:p14="http://schemas.microsoft.com/office/powerpoint/2010/main" val="396395511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C5948B-EBDC-4BC7-B296-690BCA97CA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36555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C5948B-EBDC-4BC7-B296-690BCA97CA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09596E1-A18E-4397-8DCE-778F5C1FB1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1413" y="336885"/>
            <a:ext cx="9905998" cy="686540"/>
          </a:xfrm>
        </p:spPr>
        <p:txBody>
          <a:bodyPr vert="horz">
            <a:normAutofit fontScale="90000"/>
          </a:bodyPr>
          <a:lstStyle/>
          <a:p>
            <a:r>
              <a:rPr lang="en-US" dirty="0"/>
              <a:t>Data Cleaning and manipul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A57B99-F244-461F-A4E9-BA616D17E42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41413" y="1296140"/>
            <a:ext cx="9905998" cy="2794597"/>
          </a:xfrm>
        </p:spPr>
        <p:txBody>
          <a:bodyPr/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Dropped the features which have very low fill rate</a:t>
            </a:r>
          </a:p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Dropped the user behavior features which are not available before issuing the loan.</a:t>
            </a:r>
          </a:p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Converted the data types of the features as per relevance</a:t>
            </a:r>
          </a:p>
          <a:p>
            <a:pPr lvl="1">
              <a:buFontTx/>
              <a:buChar char="-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interest rate, loan term to float from object</a:t>
            </a:r>
          </a:p>
          <a:p>
            <a:pPr lvl="1">
              <a:buFontTx/>
              <a:buChar char="-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Date fields to date from object</a:t>
            </a:r>
          </a:p>
          <a:p>
            <a:pPr lvl="1">
              <a:buFontTx/>
              <a:buChar char="-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Created new columns with interest bins and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funded_amnt_inv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bins, and DTI bins.</a:t>
            </a:r>
          </a:p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Missing value imputations</a:t>
            </a:r>
          </a:p>
        </p:txBody>
      </p:sp>
    </p:spTree>
    <p:extLst>
      <p:ext uri="{BB962C8B-B14F-4D97-AF65-F5344CB8AC3E}">
        <p14:creationId xmlns:p14="http://schemas.microsoft.com/office/powerpoint/2010/main" val="385137279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C5948B-EBDC-4BC7-B296-690BCA97CA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C5948B-EBDC-4BC7-B296-690BCA97CA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09596E1-A18E-4397-8DCE-778F5C1FB1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1413" y="609600"/>
            <a:ext cx="9905998" cy="686540"/>
          </a:xfrm>
        </p:spPr>
        <p:txBody>
          <a:bodyPr vert="horz">
            <a:normAutofit fontScale="90000"/>
          </a:bodyPr>
          <a:lstStyle/>
          <a:p>
            <a:r>
              <a:rPr lang="en-US" dirty="0"/>
              <a:t>Univariate Analysi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A57B99-F244-461F-A4E9-BA616D17E42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61153" y="1296138"/>
            <a:ext cx="9905998" cy="2882404"/>
          </a:xfrm>
          <a:ln>
            <a:solidFill>
              <a:schemeClr val="bg1"/>
            </a:solidFill>
          </a:ln>
        </p:spPr>
        <p:txBody>
          <a:bodyPr>
            <a:normAutofit/>
          </a:bodyPr>
          <a:lstStyle/>
          <a:p>
            <a:pPr marL="0" indent="0">
              <a:buFont typeface="Arial"/>
              <a:buNone/>
            </a:pPr>
            <a:r>
              <a:rPr lang="en-US" b="1" u="sng" dirty="0">
                <a:latin typeface="Calibri" panose="020F0502020204030204" pitchFamily="34" charset="0"/>
                <a:cs typeface="Calibri" panose="020F0502020204030204" pitchFamily="34" charset="0"/>
              </a:rPr>
              <a:t>Continuous variables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Highest distribution of Issued amount lies is between 5000 to 15000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Highest distribution of Installment amount lies between 200 to 500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Highest distribution of interest rate lies between 10 to 15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Highest distribution of DTI lies between 8 to 18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b="0" i="0" dirty="0">
                <a:effectLst/>
                <a:latin typeface="-apple-system"/>
              </a:rPr>
              <a:t>A lot of features are quite skewed including annual income.</a:t>
            </a: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DFB137F-0189-62C2-9786-70672DB6BC8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61153" y="3906254"/>
            <a:ext cx="3274511" cy="234214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D4FD6EA-1207-C7A9-BF7D-782992C8559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97741" y="3906254"/>
            <a:ext cx="3437395" cy="2342146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D523AE0-C580-41E9-09A1-2E0B26FAAAC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692955" y="3906254"/>
            <a:ext cx="3357459" cy="23421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411932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C5948B-EBDC-4BC7-B296-690BCA97CA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C5948B-EBDC-4BC7-B296-690BCA97CA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09596E1-A18E-4397-8DCE-778F5C1FB1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1413" y="609600"/>
            <a:ext cx="9905998" cy="686540"/>
          </a:xfrm>
        </p:spPr>
        <p:txBody>
          <a:bodyPr vert="horz">
            <a:normAutofit fontScale="90000"/>
          </a:bodyPr>
          <a:lstStyle/>
          <a:p>
            <a:r>
              <a:rPr lang="en-US" dirty="0"/>
              <a:t>Univariate Analysi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A57B99-F244-461F-A4E9-BA616D17E42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61153" y="1296139"/>
            <a:ext cx="9965240" cy="2353439"/>
          </a:xfrm>
          <a:ln>
            <a:solidFill>
              <a:schemeClr val="bg1"/>
            </a:solidFill>
          </a:ln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b="1" u="sng" dirty="0">
                <a:latin typeface="Calibri" panose="020F0502020204030204" pitchFamily="34" charset="0"/>
                <a:cs typeface="Calibri" panose="020F0502020204030204" pitchFamily="34" charset="0"/>
              </a:rPr>
              <a:t>Categorical Variables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b="0" i="0" dirty="0">
                <a:effectLst/>
                <a:latin typeface="-apple-system"/>
              </a:rPr>
              <a:t>There are around 15 percent charged off loans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dirty="0">
                <a:effectLst/>
                <a:latin typeface="-apple-system"/>
              </a:rPr>
              <a:t>76% of loans term is 36 months rest are 60 months.</a:t>
            </a:r>
            <a:endParaRPr lang="en-US" b="0" i="0" dirty="0">
              <a:effectLst/>
              <a:latin typeface="-apple-system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dirty="0">
                <a:effectLst/>
                <a:latin typeface="-apple-system"/>
              </a:rPr>
              <a:t>Most number(~17500) of loans are taken for debt consolidation</a:t>
            </a:r>
          </a:p>
          <a:p>
            <a:pPr marL="0" indent="0">
              <a:buNone/>
            </a:pP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36BDE09-9185-246A-9466-1955266F70D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61153" y="3208422"/>
            <a:ext cx="3367894" cy="303997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135F3CF8-F45F-EE06-3450-F7E575DFCC5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43885" y="3208422"/>
            <a:ext cx="3583835" cy="2819398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A218BDC6-3CCB-F3CE-88F9-F3195BF3B40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927720" y="3318710"/>
            <a:ext cx="3583838" cy="2819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738000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C5948B-EBDC-4BC7-B296-690BCA97CA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38794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C5948B-EBDC-4BC7-B296-690BCA97CA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09596E1-A18E-4397-8DCE-778F5C1FB1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1413" y="609600"/>
            <a:ext cx="9905998" cy="686540"/>
          </a:xfrm>
        </p:spPr>
        <p:txBody>
          <a:bodyPr vert="horz">
            <a:normAutofit fontScale="90000"/>
          </a:bodyPr>
          <a:lstStyle/>
          <a:p>
            <a:r>
              <a:rPr lang="en-US" dirty="0"/>
              <a:t>Univariate Analysi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A57B99-F244-461F-A4E9-BA616D17E42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61153" y="1296139"/>
            <a:ext cx="9965240" cy="2275739"/>
          </a:xfrm>
          <a:ln>
            <a:solidFill>
              <a:schemeClr val="bg1"/>
            </a:solidFill>
          </a:ln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b="1" u="sng" dirty="0">
                <a:latin typeface="Calibri" panose="020F0502020204030204" pitchFamily="34" charset="0"/>
                <a:cs typeface="Calibri" panose="020F0502020204030204" pitchFamily="34" charset="0"/>
              </a:rPr>
              <a:t>Categorical Variables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dirty="0">
                <a:effectLst/>
                <a:latin typeface="-apple-system"/>
              </a:rPr>
              <a:t>States CA, NY, FL, Tx has highest number of loans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dirty="0">
                <a:effectLst/>
                <a:latin typeface="-apple-system"/>
                <a:cs typeface="Calibri" panose="020F0502020204030204" pitchFamily="34" charset="0"/>
              </a:rPr>
              <a:t>Most number of loans are given to Grad A, B, C, D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dirty="0">
                <a:effectLst/>
                <a:latin typeface="-apple-system"/>
                <a:cs typeface="Calibri" panose="020F0502020204030204" pitchFamily="34" charset="0"/>
              </a:rPr>
              <a:t>More number of loans are given to people with 10+ years, 1 year, 2 years experience respectively.</a:t>
            </a: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DBB47CEB-7F98-E93B-902D-D1C0E984C68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61154" y="3571878"/>
            <a:ext cx="3535626" cy="2580269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EDC84C31-DA86-2CED-AF00-4645A097312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32356" y="3571878"/>
            <a:ext cx="3528895" cy="2580269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E755F7A6-8B2A-563E-912D-B3D6ADBA294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203560" y="3571878"/>
            <a:ext cx="3528897" cy="25802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47139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C5948B-EBDC-4BC7-B296-690BCA97CA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C5948B-EBDC-4BC7-B296-690BCA97CA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09596E1-A18E-4397-8DCE-778F5C1FB1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1413" y="609600"/>
            <a:ext cx="9905998" cy="686540"/>
          </a:xfrm>
        </p:spPr>
        <p:txBody>
          <a:bodyPr vert="horz">
            <a:normAutofit fontScale="90000"/>
          </a:bodyPr>
          <a:lstStyle/>
          <a:p>
            <a:r>
              <a:rPr lang="en-US" dirty="0"/>
              <a:t>Bi-variate and Segmented analysi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39E8D74-F2DF-D6A9-55B8-9A440D49D8D7}"/>
              </a:ext>
            </a:extLst>
          </p:cNvPr>
          <p:cNvSpPr txBox="1"/>
          <p:nvPr/>
        </p:nvSpPr>
        <p:spPr>
          <a:xfrm>
            <a:off x="1141413" y="1828800"/>
            <a:ext cx="10432966" cy="12824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1440" indent="-91440" defTabSz="91440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Ø"/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-apple-system"/>
              </a:rPr>
              <a:t>If the loan term is 60 months then there is more chance of being charged off.</a:t>
            </a:r>
          </a:p>
          <a:p>
            <a:pPr marL="91440" indent="-91440" defTabSz="91440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Ø"/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-apple-system"/>
              </a:rPr>
              <a:t>Interest rate is also higher for 60 months compared to 36 months term.</a:t>
            </a:r>
          </a:p>
          <a:p>
            <a:pPr marL="91440" indent="-91440" defTabSz="91440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Ø"/>
            </a:pPr>
            <a:r>
              <a:rPr lang="en-IN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-apple-system"/>
              </a:rPr>
              <a:t>On an average Charge off loans have higher rate of interest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47BAD60-BE7E-5AF7-E8E6-DD9286831AE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41413" y="3112857"/>
            <a:ext cx="3703303" cy="283785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113A6955-B6EF-8D28-BBE2-25B7952C960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43842" y="3112857"/>
            <a:ext cx="3565422" cy="2837858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57F7602-3AB7-79CA-C407-32A12C99584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152674" y="3172952"/>
            <a:ext cx="3718914" cy="27176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9571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C5948B-EBDC-4BC7-B296-690BCA97CA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C5948B-EBDC-4BC7-B296-690BCA97CA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09596E1-A18E-4397-8DCE-778F5C1FB1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1413" y="609600"/>
            <a:ext cx="9905998" cy="686540"/>
          </a:xfrm>
        </p:spPr>
        <p:txBody>
          <a:bodyPr vert="horz">
            <a:normAutofit fontScale="90000"/>
          </a:bodyPr>
          <a:lstStyle/>
          <a:p>
            <a:r>
              <a:rPr lang="en-US" dirty="0"/>
              <a:t>Bi-variate and Segmented analysi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39E8D74-F2DF-D6A9-55B8-9A440D49D8D7}"/>
              </a:ext>
            </a:extLst>
          </p:cNvPr>
          <p:cNvSpPr txBox="1"/>
          <p:nvPr/>
        </p:nvSpPr>
        <p:spPr>
          <a:xfrm>
            <a:off x="1141413" y="1828800"/>
            <a:ext cx="10432966" cy="12824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1440" indent="-91440" defTabSz="91440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Ø"/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-apple-system"/>
              </a:rPr>
              <a:t>Loans taken for Small business has a high percentage of charge off's.</a:t>
            </a:r>
          </a:p>
          <a:p>
            <a:pPr marL="91440" indent="-91440" defTabSz="91440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Ø"/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-apple-system"/>
              </a:rPr>
              <a:t>NE State has the highest charged-off percentage(almost 60 percent).</a:t>
            </a:r>
          </a:p>
          <a:p>
            <a:pPr marL="91440" indent="-91440" defTabSz="91440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Ø"/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-apple-system"/>
              </a:rPr>
              <a:t>CA State has a large number of charged-off loans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86ED286-77E3-2668-2664-2E0AC9AA149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41414" y="3084681"/>
            <a:ext cx="3959976" cy="322860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585E62A-9A90-8517-A4C9-8C74CCA6F51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22363" y="3101054"/>
            <a:ext cx="4199679" cy="3060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374038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C5948B-EBDC-4BC7-B296-690BCA97CA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C5948B-EBDC-4BC7-B296-690BCA97CA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09596E1-A18E-4397-8DCE-778F5C1FB1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1413" y="609600"/>
            <a:ext cx="9905998" cy="686540"/>
          </a:xfrm>
        </p:spPr>
        <p:txBody>
          <a:bodyPr vert="horz">
            <a:normAutofit fontScale="90000"/>
          </a:bodyPr>
          <a:lstStyle/>
          <a:p>
            <a:r>
              <a:rPr lang="en-US" dirty="0"/>
              <a:t>Bi-variate and Segmented analysi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39E8D74-F2DF-D6A9-55B8-9A440D49D8D7}"/>
              </a:ext>
            </a:extLst>
          </p:cNvPr>
          <p:cNvSpPr txBox="1"/>
          <p:nvPr/>
        </p:nvSpPr>
        <p:spPr>
          <a:xfrm>
            <a:off x="1141413" y="1828800"/>
            <a:ext cx="10432966" cy="30531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1440" indent="-91440" defTabSz="91440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Ø"/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-apple-system"/>
              </a:rPr>
              <a:t>Grades E, F, and G have high-interest rates and percentages of charged-off loans.</a:t>
            </a:r>
          </a:p>
          <a:p>
            <a:pPr marL="91440" indent="-91440" defTabSz="91440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Ø"/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-apple-system"/>
              </a:rPr>
              <a:t>If we look into subgrades F5 and G3 have more than 40 percent charged off loans.</a:t>
            </a:r>
          </a:p>
          <a:p>
            <a:pPr marL="91440" indent="-91440" defTabSz="91440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Ø"/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-apple-system"/>
              </a:rPr>
              <a:t>If </a:t>
            </a:r>
            <a:r>
              <a:rPr lang="en-US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-apple-system"/>
              </a:rPr>
              <a:t>pub_rec_bankruptcies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-apple-system"/>
              </a:rPr>
              <a:t> is high then also there is more chance of being Charged off.</a:t>
            </a:r>
          </a:p>
          <a:p>
            <a:pPr marL="91440" indent="-91440" defTabSz="91440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Ø"/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-apple-system"/>
              </a:rPr>
              <a:t>Charge-off percentage is slightly high(~2-4) for DTI range is between 15 to 27.</a:t>
            </a:r>
          </a:p>
          <a:p>
            <a:pPr marL="91440" indent="-91440" defTabSz="91440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Ø"/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-apple-system"/>
              </a:rPr>
              <a:t>Charge-off is slightly high if the loan amount is greater than 30K</a:t>
            </a:r>
            <a:r>
              <a:rPr lang="en-US" b="0" i="0" dirty="0">
                <a:solidFill>
                  <a:srgbClr val="000000"/>
                </a:solidFill>
                <a:effectLst/>
                <a:latin typeface="Helvetica Neue"/>
              </a:rPr>
              <a:t>.</a:t>
            </a:r>
          </a:p>
          <a:p>
            <a:pPr marL="91440" indent="-91440" defTabSz="91440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Ø"/>
            </a:pPr>
            <a:r>
              <a:rPr lang="en-US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-apple-system"/>
              </a:rPr>
              <a:t>Employment length “unknown” has a 20 percent of charged off loans.</a:t>
            </a:r>
            <a:endParaRPr lang="en-IN" sz="1800" dirty="0">
              <a:solidFill>
                <a:schemeClr val="tx1">
                  <a:lumMod val="75000"/>
                  <a:lumOff val="25000"/>
                </a:schemeClr>
              </a:solidFill>
              <a:latin typeface="-apple-system"/>
            </a:endParaRPr>
          </a:p>
          <a:p>
            <a:pPr marL="91440" indent="-91440" defTabSz="91440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Ø"/>
            </a:pPr>
            <a:endParaRPr lang="en-US" b="0" i="0" dirty="0">
              <a:solidFill>
                <a:srgbClr val="000000"/>
              </a:solidFill>
              <a:effectLst/>
              <a:latin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18539312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etrospect">
  <a:themeElements>
    <a:clrScheme name="Retrospect">
      <a:dk1>
        <a:srgbClr val="000000"/>
      </a:dk1>
      <a:lt1>
        <a:sysClr val="window" lastClr="FFFFFF"/>
      </a:lt1>
      <a:dk2>
        <a:srgbClr val="637052"/>
      </a:dk2>
      <a:lt2>
        <a:srgbClr val="CCDDEA"/>
      </a:lt2>
      <a:accent1>
        <a:srgbClr val="E48312"/>
      </a:accent1>
      <a:accent2>
        <a:srgbClr val="BD582C"/>
      </a:accent2>
      <a:accent3>
        <a:srgbClr val="865640"/>
      </a:accent3>
      <a:accent4>
        <a:srgbClr val="9B8357"/>
      </a:accent4>
      <a:accent5>
        <a:srgbClr val="C2BC80"/>
      </a:accent5>
      <a:accent6>
        <a:srgbClr val="94A088"/>
      </a:accent6>
      <a:hlink>
        <a:srgbClr val="2998E3"/>
      </a:hlink>
      <a:folHlink>
        <a:srgbClr val="8C8C8C"/>
      </a:folHlink>
    </a:clrScheme>
    <a:fontScheme name="Retrospect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Retrospec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etrospect" id="{5F128B03-DCCA-4EEB-AB3B-CF2899314A46}" vid="{3F1AAB62-24C6-49D2-8E01-B56FAC9A3DCD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Retrospect</Template>
  <TotalTime>2133</TotalTime>
  <Words>658</Words>
  <Application>Microsoft Office PowerPoint</Application>
  <PresentationFormat>Widescreen</PresentationFormat>
  <Paragraphs>60</Paragraphs>
  <Slides>1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9" baseType="lpstr">
      <vt:lpstr>-apple-system</vt:lpstr>
      <vt:lpstr>Arial</vt:lpstr>
      <vt:lpstr>Calibri</vt:lpstr>
      <vt:lpstr>Calibri Light</vt:lpstr>
      <vt:lpstr>Helvetica Neue</vt:lpstr>
      <vt:lpstr>Wingdings</vt:lpstr>
      <vt:lpstr>Retrospect</vt:lpstr>
      <vt:lpstr>think-cell Slide</vt:lpstr>
      <vt:lpstr>Lending Club case study</vt:lpstr>
      <vt:lpstr>Case Study Summary</vt:lpstr>
      <vt:lpstr>Data Cleaning and manipulation</vt:lpstr>
      <vt:lpstr>Univariate Analysis</vt:lpstr>
      <vt:lpstr>Univariate Analysis</vt:lpstr>
      <vt:lpstr>Univariate Analysis</vt:lpstr>
      <vt:lpstr>Bi-variate and Segmented analysis</vt:lpstr>
      <vt:lpstr>Bi-variate and Segmented analysis</vt:lpstr>
      <vt:lpstr>Bi-variate and Segmented analysis</vt:lpstr>
      <vt:lpstr>Feature Engineering</vt:lpstr>
      <vt:lpstr>Conclus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ending Club case study</dc:title>
  <dc:creator>Singla, Jitesh</dc:creator>
  <cp:lastModifiedBy>Prasad G T</cp:lastModifiedBy>
  <cp:revision>7</cp:revision>
  <dcterms:created xsi:type="dcterms:W3CDTF">2022-12-03T12:47:04Z</dcterms:created>
  <dcterms:modified xsi:type="dcterms:W3CDTF">2022-12-07T15:26:41Z</dcterms:modified>
</cp:coreProperties>
</file>